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handoutMasterIdLst>
    <p:handoutMasterId r:id="rId32"/>
  </p:handoutMasterIdLst>
  <p:sldIdLst>
    <p:sldId id="256" r:id="rId5"/>
    <p:sldId id="2147375589" r:id="rId6"/>
    <p:sldId id="4848" r:id="rId7"/>
    <p:sldId id="2147375597" r:id="rId8"/>
    <p:sldId id="2147375600" r:id="rId9"/>
    <p:sldId id="2147375601" r:id="rId10"/>
    <p:sldId id="2147375615" r:id="rId11"/>
    <p:sldId id="2147375618" r:id="rId12"/>
    <p:sldId id="2147375602" r:id="rId13"/>
    <p:sldId id="2147375603" r:id="rId14"/>
    <p:sldId id="2147375604" r:id="rId15"/>
    <p:sldId id="2147375605" r:id="rId16"/>
    <p:sldId id="2147375619" r:id="rId17"/>
    <p:sldId id="2147375620" r:id="rId18"/>
    <p:sldId id="2147375606" r:id="rId19"/>
    <p:sldId id="2147375607" r:id="rId20"/>
    <p:sldId id="2147375608" r:id="rId21"/>
    <p:sldId id="2147375609" r:id="rId22"/>
    <p:sldId id="2147375623" r:id="rId23"/>
    <p:sldId id="2147375624" r:id="rId24"/>
    <p:sldId id="2147375610" r:id="rId25"/>
    <p:sldId id="2147375611" r:id="rId26"/>
    <p:sldId id="2147375612" r:id="rId27"/>
    <p:sldId id="2147375613" r:id="rId28"/>
    <p:sldId id="2147375614" r:id="rId29"/>
    <p:sldId id="1633"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5A661D-5BF6-4358-895C-4DC197571DBA}" v="73" dt="2024-09-06T11:12:12.0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grawal, Shobhit SBOBNG-PTIY/BCS" userId="f130c6ba-517f-4ef4-9a2f-3bd618d170a3" providerId="ADAL" clId="{805A661D-5BF6-4358-895C-4DC197571DBA}"/>
    <pc:docChg chg="undo redo custSel addSld delSld modSld">
      <pc:chgData name="Agrawal, Shobhit SBOBNG-PTIY/BCS" userId="f130c6ba-517f-4ef4-9a2f-3bd618d170a3" providerId="ADAL" clId="{805A661D-5BF6-4358-895C-4DC197571DBA}" dt="2024-09-06T11:12:25.048" v="3385" actId="1076"/>
      <pc:docMkLst>
        <pc:docMk/>
      </pc:docMkLst>
      <pc:sldChg chg="modSp mod">
        <pc:chgData name="Agrawal, Shobhit SBOBNG-PTIY/BCS" userId="f130c6ba-517f-4ef4-9a2f-3bd618d170a3" providerId="ADAL" clId="{805A661D-5BF6-4358-895C-4DC197571DBA}" dt="2024-09-06T09:39:54.104" v="14" actId="20577"/>
        <pc:sldMkLst>
          <pc:docMk/>
          <pc:sldMk cId="3267775274" sldId="256"/>
        </pc:sldMkLst>
        <pc:spChg chg="mod">
          <ac:chgData name="Agrawal, Shobhit SBOBNG-PTIY/BCS" userId="f130c6ba-517f-4ef4-9a2f-3bd618d170a3" providerId="ADAL" clId="{805A661D-5BF6-4358-895C-4DC197571DBA}" dt="2024-09-06T09:39:44.760" v="3" actId="20577"/>
          <ac:spMkLst>
            <pc:docMk/>
            <pc:sldMk cId="3267775274" sldId="256"/>
            <ac:spMk id="6" creationId="{0C37A4A8-A3C7-407F-B123-88E2E165C827}"/>
          </ac:spMkLst>
        </pc:spChg>
        <pc:spChg chg="mod">
          <ac:chgData name="Agrawal, Shobhit SBOBNG-PTIY/BCS" userId="f130c6ba-517f-4ef4-9a2f-3bd618d170a3" providerId="ADAL" clId="{805A661D-5BF6-4358-895C-4DC197571DBA}" dt="2024-09-06T09:39:54.104" v="14" actId="20577"/>
          <ac:spMkLst>
            <pc:docMk/>
            <pc:sldMk cId="3267775274" sldId="256"/>
            <ac:spMk id="13" creationId="{C48F8DD6-A1B3-8126-FAC3-218B712C7FFB}"/>
          </ac:spMkLst>
        </pc:spChg>
      </pc:sldChg>
      <pc:sldChg chg="addSp delSp modSp mod">
        <pc:chgData name="Agrawal, Shobhit SBOBNG-PTIY/BCS" userId="f130c6ba-517f-4ef4-9a2f-3bd618d170a3" providerId="ADAL" clId="{805A661D-5BF6-4358-895C-4DC197571DBA}" dt="2024-09-06T09:44:59.164" v="104" actId="1076"/>
        <pc:sldMkLst>
          <pc:docMk/>
          <pc:sldMk cId="245881457" sldId="2147375597"/>
        </pc:sldMkLst>
        <pc:spChg chg="add">
          <ac:chgData name="Agrawal, Shobhit SBOBNG-PTIY/BCS" userId="f130c6ba-517f-4ef4-9a2f-3bd618d170a3" providerId="ADAL" clId="{805A661D-5BF6-4358-895C-4DC197571DBA}" dt="2024-09-06T09:44:05.875" v="52"/>
          <ac:spMkLst>
            <pc:docMk/>
            <pc:sldMk cId="245881457" sldId="2147375597"/>
            <ac:spMk id="2" creationId="{FD3B572D-F56E-9707-02B4-094971151076}"/>
          </ac:spMkLst>
        </pc:spChg>
        <pc:spChg chg="add">
          <ac:chgData name="Agrawal, Shobhit SBOBNG-PTIY/BCS" userId="f130c6ba-517f-4ef4-9a2f-3bd618d170a3" providerId="ADAL" clId="{805A661D-5BF6-4358-895C-4DC197571DBA}" dt="2024-09-06T09:44:09.139" v="53"/>
          <ac:spMkLst>
            <pc:docMk/>
            <pc:sldMk cId="245881457" sldId="2147375597"/>
            <ac:spMk id="5" creationId="{E99121DF-59CE-ADA3-EC14-F19821E605EE}"/>
          </ac:spMkLst>
        </pc:spChg>
        <pc:spChg chg="mod">
          <ac:chgData name="Agrawal, Shobhit SBOBNG-PTIY/BCS" userId="f130c6ba-517f-4ef4-9a2f-3bd618d170a3" providerId="ADAL" clId="{805A661D-5BF6-4358-895C-4DC197571DBA}" dt="2024-09-06T09:44:27.931" v="99" actId="20577"/>
          <ac:spMkLst>
            <pc:docMk/>
            <pc:sldMk cId="245881457" sldId="2147375597"/>
            <ac:spMk id="11" creationId="{DE9F1BE0-7910-FA1B-DCE8-56EFD1E4FC09}"/>
          </ac:spMkLst>
        </pc:spChg>
        <pc:picChg chg="add mod">
          <ac:chgData name="Agrawal, Shobhit SBOBNG-PTIY/BCS" userId="f130c6ba-517f-4ef4-9a2f-3bd618d170a3" providerId="ADAL" clId="{805A661D-5BF6-4358-895C-4DC197571DBA}" dt="2024-09-06T09:44:59.164" v="104" actId="1076"/>
          <ac:picMkLst>
            <pc:docMk/>
            <pc:sldMk cId="245881457" sldId="2147375597"/>
            <ac:picMk id="1028" creationId="{569C0BAA-4466-6126-1FD9-163982CD01DC}"/>
          </ac:picMkLst>
        </pc:picChg>
        <pc:picChg chg="del">
          <ac:chgData name="Agrawal, Shobhit SBOBNG-PTIY/BCS" userId="f130c6ba-517f-4ef4-9a2f-3bd618d170a3" providerId="ADAL" clId="{805A661D-5BF6-4358-895C-4DC197571DBA}" dt="2024-09-06T09:44:52.617" v="100" actId="478"/>
          <ac:picMkLst>
            <pc:docMk/>
            <pc:sldMk cId="245881457" sldId="2147375597"/>
            <ac:picMk id="2050" creationId="{5015F04C-B4D8-1D18-96F2-7CFD65B10E76}"/>
          </ac:picMkLst>
        </pc:picChg>
      </pc:sldChg>
      <pc:sldChg chg="addSp delSp modSp mod">
        <pc:chgData name="Agrawal, Shobhit SBOBNG-PTIY/BCS" userId="f130c6ba-517f-4ef4-9a2f-3bd618d170a3" providerId="ADAL" clId="{805A661D-5BF6-4358-895C-4DC197571DBA}" dt="2024-09-06T09:48:11.964" v="422" actId="1076"/>
        <pc:sldMkLst>
          <pc:docMk/>
          <pc:sldMk cId="1181112711" sldId="2147375600"/>
        </pc:sldMkLst>
        <pc:spChg chg="mod">
          <ac:chgData name="Agrawal, Shobhit SBOBNG-PTIY/BCS" userId="f130c6ba-517f-4ef4-9a2f-3bd618d170a3" providerId="ADAL" clId="{805A661D-5BF6-4358-895C-4DC197571DBA}" dt="2024-09-06T09:47:49.725" v="416" actId="20577"/>
          <ac:spMkLst>
            <pc:docMk/>
            <pc:sldMk cId="1181112711" sldId="2147375600"/>
            <ac:spMk id="11" creationId="{DE9F1BE0-7910-FA1B-DCE8-56EFD1E4FC09}"/>
          </ac:spMkLst>
        </pc:spChg>
        <pc:picChg chg="add mod">
          <ac:chgData name="Agrawal, Shobhit SBOBNG-PTIY/BCS" userId="f130c6ba-517f-4ef4-9a2f-3bd618d170a3" providerId="ADAL" clId="{805A661D-5BF6-4358-895C-4DC197571DBA}" dt="2024-09-06T09:48:11.964" v="422" actId="1076"/>
          <ac:picMkLst>
            <pc:docMk/>
            <pc:sldMk cId="1181112711" sldId="2147375600"/>
            <ac:picMk id="2050" creationId="{22AA9171-29E5-3E3A-5B5F-0AA8B92B61F3}"/>
          </ac:picMkLst>
        </pc:picChg>
        <pc:picChg chg="del">
          <ac:chgData name="Agrawal, Shobhit SBOBNG-PTIY/BCS" userId="f130c6ba-517f-4ef4-9a2f-3bd618d170a3" providerId="ADAL" clId="{805A661D-5BF6-4358-895C-4DC197571DBA}" dt="2024-09-06T09:47:51.602" v="417" actId="478"/>
          <ac:picMkLst>
            <pc:docMk/>
            <pc:sldMk cId="1181112711" sldId="2147375600"/>
            <ac:picMk id="3074" creationId="{CEF07BC9-E677-BD0C-5151-F869B05548EA}"/>
          </ac:picMkLst>
        </pc:picChg>
      </pc:sldChg>
      <pc:sldChg chg="addSp delSp modSp mod">
        <pc:chgData name="Agrawal, Shobhit SBOBNG-PTIY/BCS" userId="f130c6ba-517f-4ef4-9a2f-3bd618d170a3" providerId="ADAL" clId="{805A661D-5BF6-4358-895C-4DC197571DBA}" dt="2024-09-06T09:51:00.256" v="479" actId="1076"/>
        <pc:sldMkLst>
          <pc:docMk/>
          <pc:sldMk cId="3233747587" sldId="2147375601"/>
        </pc:sldMkLst>
        <pc:spChg chg="mod">
          <ac:chgData name="Agrawal, Shobhit SBOBNG-PTIY/BCS" userId="f130c6ba-517f-4ef4-9a2f-3bd618d170a3" providerId="ADAL" clId="{805A661D-5BF6-4358-895C-4DC197571DBA}" dt="2024-09-06T09:50:52.279" v="475" actId="1076"/>
          <ac:spMkLst>
            <pc:docMk/>
            <pc:sldMk cId="3233747587" sldId="2147375601"/>
            <ac:spMk id="11" creationId="{DE9F1BE0-7910-FA1B-DCE8-56EFD1E4FC09}"/>
          </ac:spMkLst>
        </pc:spChg>
        <pc:picChg chg="add mod">
          <ac:chgData name="Agrawal, Shobhit SBOBNG-PTIY/BCS" userId="f130c6ba-517f-4ef4-9a2f-3bd618d170a3" providerId="ADAL" clId="{805A661D-5BF6-4358-895C-4DC197571DBA}" dt="2024-09-06T09:50:52.279" v="475" actId="1076"/>
          <ac:picMkLst>
            <pc:docMk/>
            <pc:sldMk cId="3233747587" sldId="2147375601"/>
            <ac:picMk id="3074" creationId="{CA030078-6460-C5B7-C2D3-99C990EAEF07}"/>
          </ac:picMkLst>
        </pc:picChg>
        <pc:picChg chg="add mod">
          <ac:chgData name="Agrawal, Shobhit SBOBNG-PTIY/BCS" userId="f130c6ba-517f-4ef4-9a2f-3bd618d170a3" providerId="ADAL" clId="{805A661D-5BF6-4358-895C-4DC197571DBA}" dt="2024-09-06T09:51:00.256" v="479" actId="1076"/>
          <ac:picMkLst>
            <pc:docMk/>
            <pc:sldMk cId="3233747587" sldId="2147375601"/>
            <ac:picMk id="3076" creationId="{22FF34B0-B23A-642E-5828-7A300C1D3FA6}"/>
          </ac:picMkLst>
        </pc:picChg>
        <pc:picChg chg="del">
          <ac:chgData name="Agrawal, Shobhit SBOBNG-PTIY/BCS" userId="f130c6ba-517f-4ef4-9a2f-3bd618d170a3" providerId="ADAL" clId="{805A661D-5BF6-4358-895C-4DC197571DBA}" dt="2024-09-06T09:48:54.988" v="447" actId="478"/>
          <ac:picMkLst>
            <pc:docMk/>
            <pc:sldMk cId="3233747587" sldId="2147375601"/>
            <ac:picMk id="4098" creationId="{F6552E51-5EEA-5A6C-23C2-0DCB9A035F87}"/>
          </ac:picMkLst>
        </pc:picChg>
      </pc:sldChg>
      <pc:sldChg chg="addSp delSp modSp mod">
        <pc:chgData name="Agrawal, Shobhit SBOBNG-PTIY/BCS" userId="f130c6ba-517f-4ef4-9a2f-3bd618d170a3" providerId="ADAL" clId="{805A661D-5BF6-4358-895C-4DC197571DBA}" dt="2024-09-06T09:58:44.752" v="1051" actId="1076"/>
        <pc:sldMkLst>
          <pc:docMk/>
          <pc:sldMk cId="3971512377" sldId="2147375603"/>
        </pc:sldMkLst>
        <pc:spChg chg="mod">
          <ac:chgData name="Agrawal, Shobhit SBOBNG-PTIY/BCS" userId="f130c6ba-517f-4ef4-9a2f-3bd618d170a3" providerId="ADAL" clId="{805A661D-5BF6-4358-895C-4DC197571DBA}" dt="2024-09-06T09:58:04.691" v="1048" actId="6549"/>
          <ac:spMkLst>
            <pc:docMk/>
            <pc:sldMk cId="3971512377" sldId="2147375603"/>
            <ac:spMk id="11" creationId="{DE9F1BE0-7910-FA1B-DCE8-56EFD1E4FC09}"/>
          </ac:spMkLst>
        </pc:spChg>
        <pc:picChg chg="add mod">
          <ac:chgData name="Agrawal, Shobhit SBOBNG-PTIY/BCS" userId="f130c6ba-517f-4ef4-9a2f-3bd618d170a3" providerId="ADAL" clId="{805A661D-5BF6-4358-895C-4DC197571DBA}" dt="2024-09-06T09:58:44.752" v="1051" actId="1076"/>
          <ac:picMkLst>
            <pc:docMk/>
            <pc:sldMk cId="3971512377" sldId="2147375603"/>
            <ac:picMk id="5122" creationId="{B440EBE9-1A35-EC96-84A7-FE3A6FDE8C29}"/>
          </ac:picMkLst>
        </pc:picChg>
        <pc:picChg chg="del">
          <ac:chgData name="Agrawal, Shobhit SBOBNG-PTIY/BCS" userId="f130c6ba-517f-4ef4-9a2f-3bd618d170a3" providerId="ADAL" clId="{805A661D-5BF6-4358-895C-4DC197571DBA}" dt="2024-09-06T09:56:36.191" v="1027" actId="478"/>
          <ac:picMkLst>
            <pc:docMk/>
            <pc:sldMk cId="3971512377" sldId="2147375603"/>
            <ac:picMk id="6146" creationId="{B8F5738F-CEB3-29B1-E5A9-3194BC9547DC}"/>
          </ac:picMkLst>
        </pc:picChg>
      </pc:sldChg>
      <pc:sldChg chg="addSp delSp modSp mod">
        <pc:chgData name="Agrawal, Shobhit SBOBNG-PTIY/BCS" userId="f130c6ba-517f-4ef4-9a2f-3bd618d170a3" providerId="ADAL" clId="{805A661D-5BF6-4358-895C-4DC197571DBA}" dt="2024-09-06T10:00:06.805" v="1061" actId="1076"/>
        <pc:sldMkLst>
          <pc:docMk/>
          <pc:sldMk cId="3179805674" sldId="2147375604"/>
        </pc:sldMkLst>
        <pc:spChg chg="mod">
          <ac:chgData name="Agrawal, Shobhit SBOBNG-PTIY/BCS" userId="f130c6ba-517f-4ef4-9a2f-3bd618d170a3" providerId="ADAL" clId="{805A661D-5BF6-4358-895C-4DC197571DBA}" dt="2024-09-06T09:59:36.499" v="1058" actId="20577"/>
          <ac:spMkLst>
            <pc:docMk/>
            <pc:sldMk cId="3179805674" sldId="2147375604"/>
            <ac:spMk id="11" creationId="{DE9F1BE0-7910-FA1B-DCE8-56EFD1E4FC09}"/>
          </ac:spMkLst>
        </pc:spChg>
        <pc:picChg chg="del">
          <ac:chgData name="Agrawal, Shobhit SBOBNG-PTIY/BCS" userId="f130c6ba-517f-4ef4-9a2f-3bd618d170a3" providerId="ADAL" clId="{805A661D-5BF6-4358-895C-4DC197571DBA}" dt="2024-09-06T09:56:39.524" v="1028" actId="478"/>
          <ac:picMkLst>
            <pc:docMk/>
            <pc:sldMk cId="3179805674" sldId="2147375604"/>
            <ac:picMk id="5123" creationId="{2676FA03-5458-3F43-7DC6-9C18E7767DE3}"/>
          </ac:picMkLst>
        </pc:picChg>
        <pc:picChg chg="add mod">
          <ac:chgData name="Agrawal, Shobhit SBOBNG-PTIY/BCS" userId="f130c6ba-517f-4ef4-9a2f-3bd618d170a3" providerId="ADAL" clId="{805A661D-5BF6-4358-895C-4DC197571DBA}" dt="2024-09-06T10:00:06.805" v="1061" actId="1076"/>
          <ac:picMkLst>
            <pc:docMk/>
            <pc:sldMk cId="3179805674" sldId="2147375604"/>
            <ac:picMk id="6146" creationId="{1683DAA1-B3B3-12C9-FB5C-5DF1EC4D6B64}"/>
          </ac:picMkLst>
        </pc:picChg>
      </pc:sldChg>
      <pc:sldChg chg="addSp delSp modSp mod">
        <pc:chgData name="Agrawal, Shobhit SBOBNG-PTIY/BCS" userId="f130c6ba-517f-4ef4-9a2f-3bd618d170a3" providerId="ADAL" clId="{805A661D-5BF6-4358-895C-4DC197571DBA}" dt="2024-09-06T10:01:59.037" v="1075" actId="1076"/>
        <pc:sldMkLst>
          <pc:docMk/>
          <pc:sldMk cId="86366928" sldId="2147375605"/>
        </pc:sldMkLst>
        <pc:spChg chg="mod">
          <ac:chgData name="Agrawal, Shobhit SBOBNG-PTIY/BCS" userId="f130c6ba-517f-4ef4-9a2f-3bd618d170a3" providerId="ADAL" clId="{805A661D-5BF6-4358-895C-4DC197571DBA}" dt="2024-09-06T10:01:10.234" v="1072" actId="20577"/>
          <ac:spMkLst>
            <pc:docMk/>
            <pc:sldMk cId="86366928" sldId="2147375605"/>
            <ac:spMk id="11" creationId="{DE9F1BE0-7910-FA1B-DCE8-56EFD1E4FC09}"/>
          </ac:spMkLst>
        </pc:spChg>
        <pc:picChg chg="del">
          <ac:chgData name="Agrawal, Shobhit SBOBNG-PTIY/BCS" userId="f130c6ba-517f-4ef4-9a2f-3bd618d170a3" providerId="ADAL" clId="{805A661D-5BF6-4358-895C-4DC197571DBA}" dt="2024-09-06T09:56:41.858" v="1029" actId="478"/>
          <ac:picMkLst>
            <pc:docMk/>
            <pc:sldMk cId="86366928" sldId="2147375605"/>
            <ac:picMk id="6150" creationId="{4AC0F7F0-54DA-5E4B-800F-66CD0C7A8DD5}"/>
          </ac:picMkLst>
        </pc:picChg>
        <pc:picChg chg="add mod">
          <ac:chgData name="Agrawal, Shobhit SBOBNG-PTIY/BCS" userId="f130c6ba-517f-4ef4-9a2f-3bd618d170a3" providerId="ADAL" clId="{805A661D-5BF6-4358-895C-4DC197571DBA}" dt="2024-09-06T10:01:59.037" v="1075" actId="1076"/>
          <ac:picMkLst>
            <pc:docMk/>
            <pc:sldMk cId="86366928" sldId="2147375605"/>
            <ac:picMk id="7170" creationId="{89788F2C-D387-12C1-5133-6CA769AA0073}"/>
          </ac:picMkLst>
        </pc:picChg>
      </pc:sldChg>
      <pc:sldChg chg="addSp delSp modSp mod">
        <pc:chgData name="Agrawal, Shobhit SBOBNG-PTIY/BCS" userId="f130c6ba-517f-4ef4-9a2f-3bd618d170a3" providerId="ADAL" clId="{805A661D-5BF6-4358-895C-4DC197571DBA}" dt="2024-09-06T10:46:37.374" v="1813" actId="1076"/>
        <pc:sldMkLst>
          <pc:docMk/>
          <pc:sldMk cId="2340944189" sldId="2147375607"/>
        </pc:sldMkLst>
        <pc:spChg chg="mod">
          <ac:chgData name="Agrawal, Shobhit SBOBNG-PTIY/BCS" userId="f130c6ba-517f-4ef4-9a2f-3bd618d170a3" providerId="ADAL" clId="{805A661D-5BF6-4358-895C-4DC197571DBA}" dt="2024-09-06T10:45:51.218" v="1811" actId="20577"/>
          <ac:spMkLst>
            <pc:docMk/>
            <pc:sldMk cId="2340944189" sldId="2147375607"/>
            <ac:spMk id="11" creationId="{DE9F1BE0-7910-FA1B-DCE8-56EFD1E4FC09}"/>
          </ac:spMkLst>
        </pc:spChg>
        <pc:picChg chg="add mod">
          <ac:chgData name="Agrawal, Shobhit SBOBNG-PTIY/BCS" userId="f130c6ba-517f-4ef4-9a2f-3bd618d170a3" providerId="ADAL" clId="{805A661D-5BF6-4358-895C-4DC197571DBA}" dt="2024-09-06T10:46:37.374" v="1813" actId="1076"/>
          <ac:picMkLst>
            <pc:docMk/>
            <pc:sldMk cId="2340944189" sldId="2147375607"/>
            <ac:picMk id="1026" creationId="{29E7D86E-E487-B4BB-90CF-3CCD4DFBEB3B}"/>
          </ac:picMkLst>
        </pc:picChg>
        <pc:picChg chg="del">
          <ac:chgData name="Agrawal, Shobhit SBOBNG-PTIY/BCS" userId="f130c6ba-517f-4ef4-9a2f-3bd618d170a3" providerId="ADAL" clId="{805A661D-5BF6-4358-895C-4DC197571DBA}" dt="2024-09-06T10:43:13.586" v="1797" actId="478"/>
          <ac:picMkLst>
            <pc:docMk/>
            <pc:sldMk cId="2340944189" sldId="2147375607"/>
            <ac:picMk id="8194" creationId="{767DDA49-5AC0-8376-4EEA-FB09030AE865}"/>
          </ac:picMkLst>
        </pc:picChg>
      </pc:sldChg>
      <pc:sldChg chg="addSp delSp modSp mod">
        <pc:chgData name="Agrawal, Shobhit SBOBNG-PTIY/BCS" userId="f130c6ba-517f-4ef4-9a2f-3bd618d170a3" providerId="ADAL" clId="{805A661D-5BF6-4358-895C-4DC197571DBA}" dt="2024-09-06T10:48:37.761" v="1826" actId="1076"/>
        <pc:sldMkLst>
          <pc:docMk/>
          <pc:sldMk cId="3159148252" sldId="2147375608"/>
        </pc:sldMkLst>
        <pc:spChg chg="mod">
          <ac:chgData name="Agrawal, Shobhit SBOBNG-PTIY/BCS" userId="f130c6ba-517f-4ef4-9a2f-3bd618d170a3" providerId="ADAL" clId="{805A661D-5BF6-4358-895C-4DC197571DBA}" dt="2024-09-06T10:47:47.537" v="1822" actId="20577"/>
          <ac:spMkLst>
            <pc:docMk/>
            <pc:sldMk cId="3159148252" sldId="2147375608"/>
            <ac:spMk id="11" creationId="{DE9F1BE0-7910-FA1B-DCE8-56EFD1E4FC09}"/>
          </ac:spMkLst>
        </pc:spChg>
        <pc:picChg chg="add">
          <ac:chgData name="Agrawal, Shobhit SBOBNG-PTIY/BCS" userId="f130c6ba-517f-4ef4-9a2f-3bd618d170a3" providerId="ADAL" clId="{805A661D-5BF6-4358-895C-4DC197571DBA}" dt="2024-09-06T10:48:30.949" v="1823"/>
          <ac:picMkLst>
            <pc:docMk/>
            <pc:sldMk cId="3159148252" sldId="2147375608"/>
            <ac:picMk id="2050" creationId="{930ABC4B-EE42-43A5-6F41-91A7A066D97A}"/>
          </ac:picMkLst>
        </pc:picChg>
        <pc:picChg chg="add mod">
          <ac:chgData name="Agrawal, Shobhit SBOBNG-PTIY/BCS" userId="f130c6ba-517f-4ef4-9a2f-3bd618d170a3" providerId="ADAL" clId="{805A661D-5BF6-4358-895C-4DC197571DBA}" dt="2024-09-06T10:48:37.761" v="1826" actId="1076"/>
          <ac:picMkLst>
            <pc:docMk/>
            <pc:sldMk cId="3159148252" sldId="2147375608"/>
            <ac:picMk id="2052" creationId="{3982334A-35B7-5FBA-67F4-5B75CC4BDF57}"/>
          </ac:picMkLst>
        </pc:picChg>
        <pc:picChg chg="del">
          <ac:chgData name="Agrawal, Shobhit SBOBNG-PTIY/BCS" userId="f130c6ba-517f-4ef4-9a2f-3bd618d170a3" providerId="ADAL" clId="{805A661D-5BF6-4358-895C-4DC197571DBA}" dt="2024-09-06T10:46:52.029" v="1815" actId="478"/>
          <ac:picMkLst>
            <pc:docMk/>
            <pc:sldMk cId="3159148252" sldId="2147375608"/>
            <ac:picMk id="9222" creationId="{FE87CDBE-BD4E-6EAE-A85F-8ADF1ED067D4}"/>
          </ac:picMkLst>
        </pc:picChg>
      </pc:sldChg>
      <pc:sldChg chg="addSp delSp modSp mod">
        <pc:chgData name="Agrawal, Shobhit SBOBNG-PTIY/BCS" userId="f130c6ba-517f-4ef4-9a2f-3bd618d170a3" providerId="ADAL" clId="{805A661D-5BF6-4358-895C-4DC197571DBA}" dt="2024-09-06T10:50:39.715" v="1842" actId="1076"/>
        <pc:sldMkLst>
          <pc:docMk/>
          <pc:sldMk cId="3070204084" sldId="2147375609"/>
        </pc:sldMkLst>
        <pc:spChg chg="add del">
          <ac:chgData name="Agrawal, Shobhit SBOBNG-PTIY/BCS" userId="f130c6ba-517f-4ef4-9a2f-3bd618d170a3" providerId="ADAL" clId="{805A661D-5BF6-4358-895C-4DC197571DBA}" dt="2024-09-06T10:49:33.939" v="1830" actId="22"/>
          <ac:spMkLst>
            <pc:docMk/>
            <pc:sldMk cId="3070204084" sldId="2147375609"/>
            <ac:spMk id="6" creationId="{F906EF50-EA2B-0F70-F8FC-E079B0CDF8B3}"/>
          </ac:spMkLst>
        </pc:spChg>
        <pc:spChg chg="mod">
          <ac:chgData name="Agrawal, Shobhit SBOBNG-PTIY/BCS" userId="f130c6ba-517f-4ef4-9a2f-3bd618d170a3" providerId="ADAL" clId="{805A661D-5BF6-4358-895C-4DC197571DBA}" dt="2024-09-06T10:49:41.354" v="1837" actId="20577"/>
          <ac:spMkLst>
            <pc:docMk/>
            <pc:sldMk cId="3070204084" sldId="2147375609"/>
            <ac:spMk id="11" creationId="{DE9F1BE0-7910-FA1B-DCE8-56EFD1E4FC09}"/>
          </ac:spMkLst>
        </pc:spChg>
        <pc:picChg chg="add mod">
          <ac:chgData name="Agrawal, Shobhit SBOBNG-PTIY/BCS" userId="f130c6ba-517f-4ef4-9a2f-3bd618d170a3" providerId="ADAL" clId="{805A661D-5BF6-4358-895C-4DC197571DBA}" dt="2024-09-06T10:50:39.715" v="1842" actId="1076"/>
          <ac:picMkLst>
            <pc:docMk/>
            <pc:sldMk cId="3070204084" sldId="2147375609"/>
            <ac:picMk id="3074" creationId="{61B76ED8-03AB-3377-00F7-E98A473CB717}"/>
          </ac:picMkLst>
        </pc:picChg>
        <pc:picChg chg="del">
          <ac:chgData name="Agrawal, Shobhit SBOBNG-PTIY/BCS" userId="f130c6ba-517f-4ef4-9a2f-3bd618d170a3" providerId="ADAL" clId="{805A661D-5BF6-4358-895C-4DC197571DBA}" dt="2024-09-06T10:49:07.279" v="1828" actId="478"/>
          <ac:picMkLst>
            <pc:docMk/>
            <pc:sldMk cId="3070204084" sldId="2147375609"/>
            <ac:picMk id="10242" creationId="{716395F6-5BF1-E85E-614A-201A9121F52A}"/>
          </ac:picMkLst>
        </pc:picChg>
      </pc:sldChg>
      <pc:sldChg chg="modSp mod">
        <pc:chgData name="Agrawal, Shobhit SBOBNG-PTIY/BCS" userId="f130c6ba-517f-4ef4-9a2f-3bd618d170a3" providerId="ADAL" clId="{805A661D-5BF6-4358-895C-4DC197571DBA}" dt="2024-09-06T10:58:55.146" v="2749" actId="313"/>
        <pc:sldMkLst>
          <pc:docMk/>
          <pc:sldMk cId="3754613224" sldId="2147375611"/>
        </pc:sldMkLst>
        <pc:spChg chg="mod">
          <ac:chgData name="Agrawal, Shobhit SBOBNG-PTIY/BCS" userId="f130c6ba-517f-4ef4-9a2f-3bd618d170a3" providerId="ADAL" clId="{805A661D-5BF6-4358-895C-4DC197571DBA}" dt="2024-09-06T10:57:59.505" v="2648" actId="20577"/>
          <ac:spMkLst>
            <pc:docMk/>
            <pc:sldMk cId="3754613224" sldId="2147375611"/>
            <ac:spMk id="18" creationId="{6C73795A-BE20-7075-E9C6-6F145CE60794}"/>
          </ac:spMkLst>
        </pc:spChg>
        <pc:spChg chg="mod">
          <ac:chgData name="Agrawal, Shobhit SBOBNG-PTIY/BCS" userId="f130c6ba-517f-4ef4-9a2f-3bd618d170a3" providerId="ADAL" clId="{805A661D-5BF6-4358-895C-4DC197571DBA}" dt="2024-09-06T10:58:55.146" v="2749" actId="313"/>
          <ac:spMkLst>
            <pc:docMk/>
            <pc:sldMk cId="3754613224" sldId="2147375611"/>
            <ac:spMk id="19" creationId="{A3E2F4D1-4417-E244-3DB9-A6FF5866A342}"/>
          </ac:spMkLst>
        </pc:spChg>
      </pc:sldChg>
      <pc:sldChg chg="addSp delSp modSp add del mod">
        <pc:chgData name="Agrawal, Shobhit SBOBNG-PTIY/BCS" userId="f130c6ba-517f-4ef4-9a2f-3bd618d170a3" providerId="ADAL" clId="{805A661D-5BF6-4358-895C-4DC197571DBA}" dt="2024-09-06T11:12:25.048" v="3385" actId="1076"/>
        <pc:sldMkLst>
          <pc:docMk/>
          <pc:sldMk cId="1148838763" sldId="2147375613"/>
        </pc:sldMkLst>
        <pc:spChg chg="mod">
          <ac:chgData name="Agrawal, Shobhit SBOBNG-PTIY/BCS" userId="f130c6ba-517f-4ef4-9a2f-3bd618d170a3" providerId="ADAL" clId="{805A661D-5BF6-4358-895C-4DC197571DBA}" dt="2024-09-06T11:00:13.161" v="3004" actId="20577"/>
          <ac:spMkLst>
            <pc:docMk/>
            <pc:sldMk cId="1148838763" sldId="2147375613"/>
            <ac:spMk id="11" creationId="{8CC1343B-2E39-FEFF-8FF6-46822F18B432}"/>
          </ac:spMkLst>
        </pc:spChg>
        <pc:picChg chg="del">
          <ac:chgData name="Agrawal, Shobhit SBOBNG-PTIY/BCS" userId="f130c6ba-517f-4ef4-9a2f-3bd618d170a3" providerId="ADAL" clId="{805A661D-5BF6-4358-895C-4DC197571DBA}" dt="2024-09-06T11:11:53.264" v="3378" actId="478"/>
          <ac:picMkLst>
            <pc:docMk/>
            <pc:sldMk cId="1148838763" sldId="2147375613"/>
            <ac:picMk id="6" creationId="{B1310D58-C334-980E-ADDD-D739D63A524C}"/>
          </ac:picMkLst>
        </pc:picChg>
        <pc:picChg chg="add mod">
          <ac:chgData name="Agrawal, Shobhit SBOBNG-PTIY/BCS" userId="f130c6ba-517f-4ef4-9a2f-3bd618d170a3" providerId="ADAL" clId="{805A661D-5BF6-4358-895C-4DC197571DBA}" dt="2024-09-06T11:12:25.048" v="3385" actId="1076"/>
          <ac:picMkLst>
            <pc:docMk/>
            <pc:sldMk cId="1148838763" sldId="2147375613"/>
            <ac:picMk id="8" creationId="{DDF2D151-29B8-2361-F378-0272FD3BAF26}"/>
          </ac:picMkLst>
        </pc:picChg>
      </pc:sldChg>
      <pc:sldChg chg="modSp mod">
        <pc:chgData name="Agrawal, Shobhit SBOBNG-PTIY/BCS" userId="f130c6ba-517f-4ef4-9a2f-3bd618d170a3" providerId="ADAL" clId="{805A661D-5BF6-4358-895C-4DC197571DBA}" dt="2024-09-06T11:04:14.871" v="3375" actId="20577"/>
        <pc:sldMkLst>
          <pc:docMk/>
          <pc:sldMk cId="3865850111" sldId="2147375614"/>
        </pc:sldMkLst>
        <pc:spChg chg="mod">
          <ac:chgData name="Agrawal, Shobhit SBOBNG-PTIY/BCS" userId="f130c6ba-517f-4ef4-9a2f-3bd618d170a3" providerId="ADAL" clId="{805A661D-5BF6-4358-895C-4DC197571DBA}" dt="2024-09-06T11:04:14.871" v="3375" actId="20577"/>
          <ac:spMkLst>
            <pc:docMk/>
            <pc:sldMk cId="3865850111" sldId="2147375614"/>
            <ac:spMk id="6" creationId="{AC2F88D2-81D4-FAD4-568E-A3F495B06411}"/>
          </ac:spMkLst>
        </pc:spChg>
      </pc:sldChg>
      <pc:sldChg chg="addSp delSp modSp mod">
        <pc:chgData name="Agrawal, Shobhit SBOBNG-PTIY/BCS" userId="f130c6ba-517f-4ef4-9a2f-3bd618d170a3" providerId="ADAL" clId="{805A661D-5BF6-4358-895C-4DC197571DBA}" dt="2024-09-06T09:53:02.617" v="522"/>
        <pc:sldMkLst>
          <pc:docMk/>
          <pc:sldMk cId="2941808279" sldId="2147375615"/>
        </pc:sldMkLst>
        <pc:spChg chg="mod">
          <ac:chgData name="Agrawal, Shobhit SBOBNG-PTIY/BCS" userId="f130c6ba-517f-4ef4-9a2f-3bd618d170a3" providerId="ADAL" clId="{805A661D-5BF6-4358-895C-4DC197571DBA}" dt="2024-09-06T09:53:02.617" v="522"/>
          <ac:spMkLst>
            <pc:docMk/>
            <pc:sldMk cId="2941808279" sldId="2147375615"/>
            <ac:spMk id="11" creationId="{DE9F1BE0-7910-FA1B-DCE8-56EFD1E4FC09}"/>
          </ac:spMkLst>
        </pc:spChg>
        <pc:picChg chg="add mod">
          <ac:chgData name="Agrawal, Shobhit SBOBNG-PTIY/BCS" userId="f130c6ba-517f-4ef4-9a2f-3bd618d170a3" providerId="ADAL" clId="{805A661D-5BF6-4358-895C-4DC197571DBA}" dt="2024-09-06T09:52:10.937" v="508" actId="1076"/>
          <ac:picMkLst>
            <pc:docMk/>
            <pc:sldMk cId="2941808279" sldId="2147375615"/>
            <ac:picMk id="4098" creationId="{25AC5804-8A24-7E08-CF1A-161C27F96831}"/>
          </ac:picMkLst>
        </pc:picChg>
        <pc:picChg chg="add del">
          <ac:chgData name="Agrawal, Shobhit SBOBNG-PTIY/BCS" userId="f130c6ba-517f-4ef4-9a2f-3bd618d170a3" providerId="ADAL" clId="{805A661D-5BF6-4358-895C-4DC197571DBA}" dt="2024-09-06T09:51:28.130" v="502" actId="478"/>
          <ac:picMkLst>
            <pc:docMk/>
            <pc:sldMk cId="2941808279" sldId="2147375615"/>
            <ac:picMk id="13314" creationId="{AA51102A-968E-7B84-4350-75F047B139CA}"/>
          </ac:picMkLst>
        </pc:picChg>
      </pc:sldChg>
      <pc:sldChg chg="del">
        <pc:chgData name="Agrawal, Shobhit SBOBNG-PTIY/BCS" userId="f130c6ba-517f-4ef4-9a2f-3bd618d170a3" providerId="ADAL" clId="{805A661D-5BF6-4358-895C-4DC197571DBA}" dt="2024-09-06T09:56:28.184" v="1025" actId="47"/>
        <pc:sldMkLst>
          <pc:docMk/>
          <pc:sldMk cId="2936174895" sldId="2147375616"/>
        </pc:sldMkLst>
      </pc:sldChg>
      <pc:sldChg chg="del">
        <pc:chgData name="Agrawal, Shobhit SBOBNG-PTIY/BCS" userId="f130c6ba-517f-4ef4-9a2f-3bd618d170a3" providerId="ADAL" clId="{805A661D-5BF6-4358-895C-4DC197571DBA}" dt="2024-09-06T09:56:29.899" v="1026" actId="47"/>
        <pc:sldMkLst>
          <pc:docMk/>
          <pc:sldMk cId="2018031460" sldId="2147375617"/>
        </pc:sldMkLst>
      </pc:sldChg>
      <pc:sldChg chg="addSp delSp modSp mod">
        <pc:chgData name="Agrawal, Shobhit SBOBNG-PTIY/BCS" userId="f130c6ba-517f-4ef4-9a2f-3bd618d170a3" providerId="ADAL" clId="{805A661D-5BF6-4358-895C-4DC197571DBA}" dt="2024-09-06T09:56:21.802" v="1024" actId="20577"/>
        <pc:sldMkLst>
          <pc:docMk/>
          <pc:sldMk cId="2805887305" sldId="2147375618"/>
        </pc:sldMkLst>
        <pc:spChg chg="mod">
          <ac:chgData name="Agrawal, Shobhit SBOBNG-PTIY/BCS" userId="f130c6ba-517f-4ef4-9a2f-3bd618d170a3" providerId="ADAL" clId="{805A661D-5BF6-4358-895C-4DC197571DBA}" dt="2024-09-06T09:56:21.802" v="1024" actId="20577"/>
          <ac:spMkLst>
            <pc:docMk/>
            <pc:sldMk cId="2805887305" sldId="2147375618"/>
            <ac:spMk id="11" creationId="{DE9F1BE0-7910-FA1B-DCE8-56EFD1E4FC09}"/>
          </ac:spMkLst>
        </pc:spChg>
        <pc:picChg chg="add mod">
          <ac:chgData name="Agrawal, Shobhit SBOBNG-PTIY/BCS" userId="f130c6ba-517f-4ef4-9a2f-3bd618d170a3" providerId="ADAL" clId="{805A661D-5BF6-4358-895C-4DC197571DBA}" dt="2024-09-06T09:54:21.170" v="559" actId="1076"/>
          <ac:picMkLst>
            <pc:docMk/>
            <pc:sldMk cId="2805887305" sldId="2147375618"/>
            <ac:picMk id="5" creationId="{C52E8ADF-147B-2DAE-FAB0-59A9D5866754}"/>
          </ac:picMkLst>
        </pc:picChg>
        <pc:picChg chg="del">
          <ac:chgData name="Agrawal, Shobhit SBOBNG-PTIY/BCS" userId="f130c6ba-517f-4ef4-9a2f-3bd618d170a3" providerId="ADAL" clId="{805A661D-5BF6-4358-895C-4DC197571DBA}" dt="2024-09-06T09:53:29.225" v="556" actId="478"/>
          <ac:picMkLst>
            <pc:docMk/>
            <pc:sldMk cId="2805887305" sldId="2147375618"/>
            <ac:picMk id="14338" creationId="{A1AD81D1-E21C-CA78-836E-28AE4F1FCD5C}"/>
          </ac:picMkLst>
        </pc:picChg>
      </pc:sldChg>
      <pc:sldChg chg="addSp delSp modSp mod">
        <pc:chgData name="Agrawal, Shobhit SBOBNG-PTIY/BCS" userId="f130c6ba-517f-4ef4-9a2f-3bd618d170a3" providerId="ADAL" clId="{805A661D-5BF6-4358-895C-4DC197571DBA}" dt="2024-09-06T10:04:17.371" v="1087" actId="1076"/>
        <pc:sldMkLst>
          <pc:docMk/>
          <pc:sldMk cId="3057652924" sldId="2147375619"/>
        </pc:sldMkLst>
        <pc:spChg chg="mod">
          <ac:chgData name="Agrawal, Shobhit SBOBNG-PTIY/BCS" userId="f130c6ba-517f-4ef4-9a2f-3bd618d170a3" providerId="ADAL" clId="{805A661D-5BF6-4358-895C-4DC197571DBA}" dt="2024-09-06T10:02:43.302" v="1084" actId="6549"/>
          <ac:spMkLst>
            <pc:docMk/>
            <pc:sldMk cId="3057652924" sldId="2147375619"/>
            <ac:spMk id="11" creationId="{DE9F1BE0-7910-FA1B-DCE8-56EFD1E4FC09}"/>
          </ac:spMkLst>
        </pc:spChg>
        <pc:picChg chg="del">
          <ac:chgData name="Agrawal, Shobhit SBOBNG-PTIY/BCS" userId="f130c6ba-517f-4ef4-9a2f-3bd618d170a3" providerId="ADAL" clId="{805A661D-5BF6-4358-895C-4DC197571DBA}" dt="2024-09-06T09:56:45.102" v="1030" actId="478"/>
          <ac:picMkLst>
            <pc:docMk/>
            <pc:sldMk cId="3057652924" sldId="2147375619"/>
            <ac:picMk id="1026" creationId="{24181F53-ADBA-807C-2D6B-08B6CAC2E69A}"/>
          </ac:picMkLst>
        </pc:picChg>
        <pc:picChg chg="add mod">
          <ac:chgData name="Agrawal, Shobhit SBOBNG-PTIY/BCS" userId="f130c6ba-517f-4ef4-9a2f-3bd618d170a3" providerId="ADAL" clId="{805A661D-5BF6-4358-895C-4DC197571DBA}" dt="2024-09-06T10:04:17.371" v="1087" actId="1076"/>
          <ac:picMkLst>
            <pc:docMk/>
            <pc:sldMk cId="3057652924" sldId="2147375619"/>
            <ac:picMk id="8194" creationId="{A66A10C8-B924-FCCF-D39C-F8D48C109ADD}"/>
          </ac:picMkLst>
        </pc:picChg>
      </pc:sldChg>
      <pc:sldChg chg="addSp delSp modSp mod">
        <pc:chgData name="Agrawal, Shobhit SBOBNG-PTIY/BCS" userId="f130c6ba-517f-4ef4-9a2f-3bd618d170a3" providerId="ADAL" clId="{805A661D-5BF6-4358-895C-4DC197571DBA}" dt="2024-09-06T10:42:45.902" v="1794" actId="20577"/>
        <pc:sldMkLst>
          <pc:docMk/>
          <pc:sldMk cId="2686041220" sldId="2147375620"/>
        </pc:sldMkLst>
        <pc:spChg chg="mod">
          <ac:chgData name="Agrawal, Shobhit SBOBNG-PTIY/BCS" userId="f130c6ba-517f-4ef4-9a2f-3bd618d170a3" providerId="ADAL" clId="{805A661D-5BF6-4358-895C-4DC197571DBA}" dt="2024-09-06T10:42:45.902" v="1794" actId="20577"/>
          <ac:spMkLst>
            <pc:docMk/>
            <pc:sldMk cId="2686041220" sldId="2147375620"/>
            <ac:spMk id="11" creationId="{DE9F1BE0-7910-FA1B-DCE8-56EFD1E4FC09}"/>
          </ac:spMkLst>
        </pc:spChg>
        <pc:picChg chg="add mod">
          <ac:chgData name="Agrawal, Shobhit SBOBNG-PTIY/BCS" userId="f130c6ba-517f-4ef4-9a2f-3bd618d170a3" providerId="ADAL" clId="{805A661D-5BF6-4358-895C-4DC197571DBA}" dt="2024-09-06T10:39:25.948" v="1093" actId="1076"/>
          <ac:picMkLst>
            <pc:docMk/>
            <pc:sldMk cId="2686041220" sldId="2147375620"/>
            <ac:picMk id="2" creationId="{7E7AA17F-6490-6E64-4021-28C6B076A63C}"/>
          </ac:picMkLst>
        </pc:picChg>
        <pc:picChg chg="del">
          <ac:chgData name="Agrawal, Shobhit SBOBNG-PTIY/BCS" userId="f130c6ba-517f-4ef4-9a2f-3bd618d170a3" providerId="ADAL" clId="{805A661D-5BF6-4358-895C-4DC197571DBA}" dt="2024-09-06T09:56:47.707" v="1031" actId="478"/>
          <ac:picMkLst>
            <pc:docMk/>
            <pc:sldMk cId="2686041220" sldId="2147375620"/>
            <ac:picMk id="2050" creationId="{CF0BA101-B636-A7D4-ADF4-BBB3424424C6}"/>
          </ac:picMkLst>
        </pc:picChg>
      </pc:sldChg>
      <pc:sldChg chg="del">
        <pc:chgData name="Agrawal, Shobhit SBOBNG-PTIY/BCS" userId="f130c6ba-517f-4ef4-9a2f-3bd618d170a3" providerId="ADAL" clId="{805A661D-5BF6-4358-895C-4DC197571DBA}" dt="2024-09-06T09:56:51.360" v="1032" actId="47"/>
        <pc:sldMkLst>
          <pc:docMk/>
          <pc:sldMk cId="339792612" sldId="2147375621"/>
        </pc:sldMkLst>
      </pc:sldChg>
      <pc:sldChg chg="del">
        <pc:chgData name="Agrawal, Shobhit SBOBNG-PTIY/BCS" userId="f130c6ba-517f-4ef4-9a2f-3bd618d170a3" providerId="ADAL" clId="{805A661D-5BF6-4358-895C-4DC197571DBA}" dt="2024-09-06T09:56:51.360" v="1032" actId="47"/>
        <pc:sldMkLst>
          <pc:docMk/>
          <pc:sldMk cId="3796552657" sldId="2147375622"/>
        </pc:sldMkLst>
      </pc:sldChg>
      <pc:sldChg chg="addSp delSp modSp mod">
        <pc:chgData name="Agrawal, Shobhit SBOBNG-PTIY/BCS" userId="f130c6ba-517f-4ef4-9a2f-3bd618d170a3" providerId="ADAL" clId="{805A661D-5BF6-4358-895C-4DC197571DBA}" dt="2024-09-06T10:52:00.703" v="1856" actId="20577"/>
        <pc:sldMkLst>
          <pc:docMk/>
          <pc:sldMk cId="3955777602" sldId="2147375623"/>
        </pc:sldMkLst>
        <pc:spChg chg="mod">
          <ac:chgData name="Agrawal, Shobhit SBOBNG-PTIY/BCS" userId="f130c6ba-517f-4ef4-9a2f-3bd618d170a3" providerId="ADAL" clId="{805A661D-5BF6-4358-895C-4DC197571DBA}" dt="2024-09-06T10:52:00.703" v="1856" actId="20577"/>
          <ac:spMkLst>
            <pc:docMk/>
            <pc:sldMk cId="3955777602" sldId="2147375623"/>
            <ac:spMk id="11" creationId="{DE9F1BE0-7910-FA1B-DCE8-56EFD1E4FC09}"/>
          </ac:spMkLst>
        </pc:spChg>
        <pc:picChg chg="add mod">
          <ac:chgData name="Agrawal, Shobhit SBOBNG-PTIY/BCS" userId="f130c6ba-517f-4ef4-9a2f-3bd618d170a3" providerId="ADAL" clId="{805A661D-5BF6-4358-895C-4DC197571DBA}" dt="2024-09-06T10:51:47.274" v="1847" actId="1076"/>
          <ac:picMkLst>
            <pc:docMk/>
            <pc:sldMk cId="3955777602" sldId="2147375623"/>
            <ac:picMk id="4098" creationId="{7039EB28-489F-B39B-987D-C96B21AA7C74}"/>
          </ac:picMkLst>
        </pc:picChg>
        <pc:picChg chg="del">
          <ac:chgData name="Agrawal, Shobhit SBOBNG-PTIY/BCS" userId="f130c6ba-517f-4ef4-9a2f-3bd618d170a3" providerId="ADAL" clId="{805A661D-5BF6-4358-895C-4DC197571DBA}" dt="2024-09-06T10:50:49.176" v="1844" actId="478"/>
          <ac:picMkLst>
            <pc:docMk/>
            <pc:sldMk cId="3955777602" sldId="2147375623"/>
            <ac:picMk id="5122" creationId="{F6452912-0216-CC9A-DC3A-FB184A884EEB}"/>
          </ac:picMkLst>
        </pc:picChg>
      </pc:sldChg>
      <pc:sldChg chg="addSp delSp modSp mod">
        <pc:chgData name="Agrawal, Shobhit SBOBNG-PTIY/BCS" userId="f130c6ba-517f-4ef4-9a2f-3bd618d170a3" providerId="ADAL" clId="{805A661D-5BF6-4358-895C-4DC197571DBA}" dt="2024-09-06T10:56:25.900" v="2518" actId="14100"/>
        <pc:sldMkLst>
          <pc:docMk/>
          <pc:sldMk cId="586367436" sldId="2147375624"/>
        </pc:sldMkLst>
        <pc:spChg chg="mod">
          <ac:chgData name="Agrawal, Shobhit SBOBNG-PTIY/BCS" userId="f130c6ba-517f-4ef4-9a2f-3bd618d170a3" providerId="ADAL" clId="{805A661D-5BF6-4358-895C-4DC197571DBA}" dt="2024-09-06T10:56:25.900" v="2518" actId="14100"/>
          <ac:spMkLst>
            <pc:docMk/>
            <pc:sldMk cId="586367436" sldId="2147375624"/>
            <ac:spMk id="11" creationId="{DE9F1BE0-7910-FA1B-DCE8-56EFD1E4FC09}"/>
          </ac:spMkLst>
        </pc:spChg>
        <pc:picChg chg="add mod">
          <ac:chgData name="Agrawal, Shobhit SBOBNG-PTIY/BCS" userId="f130c6ba-517f-4ef4-9a2f-3bd618d170a3" providerId="ADAL" clId="{805A661D-5BF6-4358-895C-4DC197571DBA}" dt="2024-09-06T10:52:48.412" v="1862" actId="1076"/>
          <ac:picMkLst>
            <pc:docMk/>
            <pc:sldMk cId="586367436" sldId="2147375624"/>
            <ac:picMk id="5" creationId="{B1831AB6-5EF9-6654-E7D1-8BE3978A502A}"/>
          </ac:picMkLst>
        </pc:picChg>
        <pc:picChg chg="del">
          <ac:chgData name="Agrawal, Shobhit SBOBNG-PTIY/BCS" userId="f130c6ba-517f-4ef4-9a2f-3bd618d170a3" providerId="ADAL" clId="{805A661D-5BF6-4358-895C-4DC197571DBA}" dt="2024-09-06T10:52:04.058" v="1857" actId="478"/>
          <ac:picMkLst>
            <pc:docMk/>
            <pc:sldMk cId="586367436" sldId="2147375624"/>
            <ac:picMk id="6146" creationId="{1F3F5A09-4E78-1112-5B96-033A6B32BEE6}"/>
          </ac:picMkLst>
        </pc:picChg>
      </pc:sldChg>
      <pc:sldChg chg="del">
        <pc:chgData name="Agrawal, Shobhit SBOBNG-PTIY/BCS" userId="f130c6ba-517f-4ef4-9a2f-3bd618d170a3" providerId="ADAL" clId="{805A661D-5BF6-4358-895C-4DC197571DBA}" dt="2024-09-06T10:42:58.498" v="1795" actId="47"/>
        <pc:sldMkLst>
          <pc:docMk/>
          <pc:sldMk cId="698941007" sldId="2147375625"/>
        </pc:sldMkLst>
      </pc:sldChg>
      <pc:sldChg chg="del">
        <pc:chgData name="Agrawal, Shobhit SBOBNG-PTIY/BCS" userId="f130c6ba-517f-4ef4-9a2f-3bd618d170a3" providerId="ADAL" clId="{805A661D-5BF6-4358-895C-4DC197571DBA}" dt="2024-09-06T10:42:59.933" v="1796" actId="47"/>
        <pc:sldMkLst>
          <pc:docMk/>
          <pc:sldMk cId="1021500342" sldId="214737562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4.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40.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21.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9.jp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22.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5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hobhit Agrawa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t-2024</a:t>
            </a:r>
          </a:p>
        </p:txBody>
      </p:sp>
      <p:pic>
        <p:nvPicPr>
          <p:cNvPr id="3" name="Picture 2" descr="A person in a suit and tie&#10;&#10;Description automatically generated">
            <a:extLst>
              <a:ext uri="{FF2B5EF4-FFF2-40B4-BE49-F238E27FC236}">
                <a16:creationId xmlns:a16="http://schemas.microsoft.com/office/drawing/2014/main" id="{F769E610-8AA9-B53C-4EB4-D94DEAA34B51}"/>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730490" y="725593"/>
            <a:ext cx="4055110" cy="5406813"/>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uses functional testing to ensure their energy systems and technologies operate correctly under various conditions, minimizing risks and enhancing reliability.</a:t>
            </a:r>
          </a:p>
          <a:p>
            <a:pPr marL="0" indent="0">
              <a:buNone/>
            </a:pPr>
            <a:endParaRPr lang="en-GB" sz="2000" dirty="0"/>
          </a:p>
          <a:p>
            <a:pPr marL="0" indent="0">
              <a:buNone/>
            </a:pPr>
            <a:r>
              <a:rPr lang="en-GB" sz="2000" dirty="0"/>
              <a:t>This approach helps Shell identify and fix issues early, leading to more efficient and safe energy solutions, ultimately improving customer satisfaction and operational efficienc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descr="What is Functional Testing? Complete Guide With Types, Tools, and ...">
            <a:extLst>
              <a:ext uri="{FF2B5EF4-FFF2-40B4-BE49-F238E27FC236}">
                <a16:creationId xmlns:a16="http://schemas.microsoft.com/office/drawing/2014/main" id="{B440EBE9-1A35-EC96-84A7-FE3A6FDE8C2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77224" y="2274783"/>
            <a:ext cx="5197856" cy="3248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implements STLC by systematically testing their energy management systems at each phase, from requirement analysis to test cycle closure, ensuring comprehensive quality checks.</a:t>
            </a:r>
          </a:p>
          <a:p>
            <a:pPr marL="0" indent="0">
              <a:buNone/>
            </a:pPr>
            <a:endParaRPr lang="en-GB" sz="2000" dirty="0"/>
          </a:p>
          <a:p>
            <a:pPr marL="0" indent="0">
              <a:buNone/>
            </a:pPr>
            <a:r>
              <a:rPr lang="en-GB" sz="2000" dirty="0"/>
              <a:t>This structured approach helps Shell identify and resolve issues early, leading to more reliable, efficient, and safe energy solutions, ultimately enhancing operational performance and customer trust.</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Software Testing Life Cycle (STLC) | Testbytes | Software testing ...">
            <a:extLst>
              <a:ext uri="{FF2B5EF4-FFF2-40B4-BE49-F238E27FC236}">
                <a16:creationId xmlns:a16="http://schemas.microsoft.com/office/drawing/2014/main" id="{1683DAA1-B3B3-12C9-FB5C-5DF1EC4D6B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84792" y="1907753"/>
            <a:ext cx="3982720" cy="3982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uses </a:t>
            </a:r>
            <a:r>
              <a:rPr lang="en-GB" sz="2000" dirty="0" err="1"/>
              <a:t>FitNesse</a:t>
            </a:r>
            <a:r>
              <a:rPr lang="en-GB" sz="2000" dirty="0"/>
              <a:t> to automate acceptance testing of their energy management systems, ensuring they meet user requirements and function as expected.</a:t>
            </a:r>
          </a:p>
          <a:p>
            <a:pPr marL="0" indent="0">
              <a:buNone/>
            </a:pPr>
            <a:endParaRPr lang="en-GB" sz="2000" dirty="0"/>
          </a:p>
          <a:p>
            <a:pPr marL="0" indent="0">
              <a:buNone/>
            </a:pPr>
            <a:r>
              <a:rPr lang="en-GB" sz="2000" dirty="0"/>
              <a:t>This enhances collaboration between developers and testers, leading to more reliable and efficient energy solutions, ultimately improving operational performance and customer satisfac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7170" name="Picture 2" descr="FitNesse - Software Testing Tools Guide">
            <a:extLst>
              <a:ext uri="{FF2B5EF4-FFF2-40B4-BE49-F238E27FC236}">
                <a16:creationId xmlns:a16="http://schemas.microsoft.com/office/drawing/2014/main" id="{89788F2C-D387-12C1-5133-6CA769AA007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37752" y="2672769"/>
            <a:ext cx="4876800" cy="2452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uses PostgreSQL to manage and </a:t>
            </a:r>
            <a:r>
              <a:rPr lang="en-GB" sz="2000" dirty="0" err="1"/>
              <a:t>analyze</a:t>
            </a:r>
            <a:r>
              <a:rPr lang="en-GB" sz="2000" dirty="0"/>
              <a:t> large datasets from energy consumption and production, optimizing data storage and retrieval processes.</a:t>
            </a:r>
          </a:p>
          <a:p>
            <a:pPr marL="0" indent="0">
              <a:buNone/>
            </a:pPr>
            <a:endParaRPr lang="en-GB" sz="2000" dirty="0"/>
          </a:p>
          <a:p>
            <a:pPr marL="0" indent="0">
              <a:buNone/>
            </a:pPr>
            <a:r>
              <a:rPr lang="en-GB" sz="2000" dirty="0"/>
              <a:t>This enables Shell to make data-driven decisions, improving energy distribution efficiency and enhancing overall operational performanc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194" name="Picture 2" descr="PostgreSQL Database | How to Create, Drop Database in PostgreSQL">
            <a:extLst>
              <a:ext uri="{FF2B5EF4-FFF2-40B4-BE49-F238E27FC236}">
                <a16:creationId xmlns:a16="http://schemas.microsoft.com/office/drawing/2014/main" id="{A66A10C8-B924-FCCF-D39C-F8D48C109AD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69028" y="2497985"/>
            <a:ext cx="5014248" cy="28022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6529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 think that the tasks that we did today will play a very important role in the projects that we will be assigned in Shell in the future. The knowledge I gained today by doing practical hands on will surely help me in achieving the organization’s goal.</a:t>
            </a:r>
          </a:p>
          <a:p>
            <a:pPr marL="0" indent="0">
              <a:buNone/>
            </a:pPr>
            <a:endParaRPr lang="en-US" sz="2000" dirty="0"/>
          </a:p>
          <a:p>
            <a:pPr marL="0" indent="0">
              <a:buNone/>
            </a:pPr>
            <a:r>
              <a:rPr lang="en-US" sz="2000" dirty="0"/>
              <a:t>I think due to this case study, Shell will surely benefit, as all of us are a part of Shell now and we will be working on official projects now. So, if we perform well in implementing these projects, surely, we will be contributing in Shell’s growth.</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descr="A screenshot of a computer&#10;&#10;Description automatically generated">
            <a:extLst>
              <a:ext uri="{FF2B5EF4-FFF2-40B4-BE49-F238E27FC236}">
                <a16:creationId xmlns:a16="http://schemas.microsoft.com/office/drawing/2014/main" id="{7E7AA17F-6490-6E64-4021-28C6B076A63C}"/>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02730" y="2529840"/>
            <a:ext cx="4933929" cy="2775267"/>
          </a:xfrm>
          <a:prstGeom prst="rect">
            <a:avLst/>
          </a:prstGeom>
          <a:noFill/>
          <a:ln>
            <a:noFill/>
          </a:ln>
        </p:spPr>
      </p:pic>
    </p:spTree>
    <p:extLst>
      <p:ext uri="{BB962C8B-B14F-4D97-AF65-F5344CB8AC3E}">
        <p14:creationId xmlns:p14="http://schemas.microsoft.com/office/powerpoint/2010/main" val="26860412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t>Challenges:</a:t>
            </a:r>
          </a:p>
          <a:p>
            <a:pPr marL="0" indent="0">
              <a:buNone/>
            </a:pPr>
            <a:r>
              <a:rPr lang="en-GB" sz="1800" dirty="0"/>
              <a:t>Lack of clear requirements: Difficulty in determining what needs to be tested.</a:t>
            </a:r>
          </a:p>
          <a:p>
            <a:pPr marL="0" indent="0">
              <a:buNone/>
            </a:pPr>
            <a:r>
              <a:rPr lang="en-GB" sz="1800" dirty="0"/>
              <a:t>Complex test environments: Challenges in setting up environments that mimic production.</a:t>
            </a:r>
          </a:p>
          <a:p>
            <a:pPr marL="0" indent="0">
              <a:buNone/>
            </a:pPr>
            <a:r>
              <a:rPr lang="en-GB" sz="1800" dirty="0"/>
              <a:t>Time constraints: Insufficient time for thorough testing.</a:t>
            </a:r>
          </a:p>
          <a:p>
            <a:pPr marL="0" indent="0">
              <a:buNone/>
            </a:pPr>
            <a:r>
              <a:rPr lang="en-GB" sz="1800" dirty="0"/>
              <a:t>Plan to Overcome:</a:t>
            </a:r>
          </a:p>
          <a:p>
            <a:pPr marL="0" indent="0">
              <a:buNone/>
            </a:pPr>
            <a:r>
              <a:rPr lang="en-GB" sz="1800" dirty="0"/>
              <a:t>Clarify requirements: Work with stakeholders to document requirements before testing.</a:t>
            </a:r>
          </a:p>
          <a:p>
            <a:pPr marL="0" indent="0">
              <a:buNone/>
            </a:pPr>
            <a:r>
              <a:rPr lang="en-GB" sz="1800" dirty="0"/>
              <a:t>Use virtualization tools: Create scalable and manageable test environmen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026" name="Picture 2" descr="A Guide to Functional Testing">
            <a:extLst>
              <a:ext uri="{FF2B5EF4-FFF2-40B4-BE49-F238E27FC236}">
                <a16:creationId xmlns:a16="http://schemas.microsoft.com/office/drawing/2014/main" id="{29E7D86E-E487-B4BB-90CF-3CCD4DFBEB3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2879938"/>
            <a:ext cx="4514850" cy="2038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t>Challenges:</a:t>
            </a:r>
          </a:p>
          <a:p>
            <a:pPr marL="0" indent="0">
              <a:buNone/>
            </a:pPr>
            <a:r>
              <a:rPr lang="en-GB" sz="1800" dirty="0"/>
              <a:t>Requirement Ambiguity: Unclear or changing requirements can disrupt the testing process.</a:t>
            </a:r>
          </a:p>
          <a:p>
            <a:pPr marL="0" indent="0">
              <a:buNone/>
            </a:pPr>
            <a:r>
              <a:rPr lang="en-GB" sz="1800" dirty="0"/>
              <a:t>Resource Constraints: Limited resources for comprehensive testing.</a:t>
            </a:r>
          </a:p>
          <a:p>
            <a:pPr marL="0" indent="0">
              <a:buNone/>
            </a:pPr>
            <a:r>
              <a:rPr lang="en-GB" sz="1800" dirty="0"/>
              <a:t>Integration Issues: Difficulties in integrating various components and systems.</a:t>
            </a:r>
          </a:p>
          <a:p>
            <a:pPr marL="0" indent="0">
              <a:buNone/>
            </a:pPr>
            <a:r>
              <a:rPr lang="en-GB" sz="1800" dirty="0"/>
              <a:t>Plan to Overcome:</a:t>
            </a:r>
          </a:p>
          <a:p>
            <a:pPr marL="0" indent="0">
              <a:buNone/>
            </a:pPr>
            <a:r>
              <a:rPr lang="en-GB" sz="1800" dirty="0"/>
              <a:t>Requirement Clarification: Engage stakeholders early to ensure clear and stable requirements.</a:t>
            </a:r>
          </a:p>
          <a:p>
            <a:pPr marL="0" indent="0">
              <a:buNone/>
            </a:pPr>
            <a:r>
              <a:rPr lang="en-GB" sz="1800" dirty="0"/>
              <a:t>Resource Allocation: Prioritize critical tests and advocate for necessary resources.</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2052" name="Picture 4" descr="The Software Testing Life Cycle (STLC) Guide: Phases And Criteria ...">
            <a:extLst>
              <a:ext uri="{FF2B5EF4-FFF2-40B4-BE49-F238E27FC236}">
                <a16:creationId xmlns:a16="http://schemas.microsoft.com/office/drawing/2014/main" id="{3982334A-35B7-5FBA-67F4-5B75CC4BDF5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32574" y="2267798"/>
            <a:ext cx="4893945" cy="3262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t>Challenges:</a:t>
            </a:r>
          </a:p>
          <a:p>
            <a:pPr marL="0" indent="0">
              <a:buNone/>
            </a:pPr>
            <a:r>
              <a:rPr lang="en-GB" sz="1800" dirty="0"/>
              <a:t>Learning Curve: Difficulty in understanding and using </a:t>
            </a:r>
            <a:r>
              <a:rPr lang="en-GB" sz="1800" dirty="0" err="1"/>
              <a:t>FitNesse</a:t>
            </a:r>
            <a:r>
              <a:rPr lang="en-GB" sz="1800" dirty="0"/>
              <a:t> effectively.</a:t>
            </a:r>
          </a:p>
          <a:p>
            <a:pPr marL="0" indent="0">
              <a:buNone/>
            </a:pPr>
            <a:r>
              <a:rPr lang="en-GB" sz="1800" dirty="0"/>
              <a:t>Integration Issues: Challenges in integrating </a:t>
            </a:r>
            <a:r>
              <a:rPr lang="en-GB" sz="1800" dirty="0" err="1"/>
              <a:t>FitNesse</a:t>
            </a:r>
            <a:r>
              <a:rPr lang="en-GB" sz="1800" dirty="0"/>
              <a:t> with existing systems and workflows.</a:t>
            </a:r>
          </a:p>
          <a:p>
            <a:pPr marL="0" indent="0">
              <a:buNone/>
            </a:pPr>
            <a:r>
              <a:rPr lang="en-GB" sz="1800" dirty="0"/>
              <a:t>Maintenance: Keeping test cases up-to-date with frequent changes in requirements.</a:t>
            </a:r>
          </a:p>
          <a:p>
            <a:pPr marL="0" indent="0">
              <a:buNone/>
            </a:pPr>
            <a:r>
              <a:rPr lang="en-GB" sz="1800" dirty="0"/>
              <a:t>Plan to Overcome:</a:t>
            </a:r>
          </a:p>
          <a:p>
            <a:pPr marL="0" indent="0">
              <a:buNone/>
            </a:pPr>
            <a:r>
              <a:rPr lang="en-GB" sz="1800" dirty="0"/>
              <a:t>Training: Invest in training sessions and resources to improve proficiency with </a:t>
            </a:r>
            <a:r>
              <a:rPr lang="en-GB" sz="1800" dirty="0" err="1"/>
              <a:t>FitNesse</a:t>
            </a:r>
            <a:r>
              <a:rPr lang="en-GB" sz="1800" dirty="0"/>
              <a:t>.</a:t>
            </a:r>
          </a:p>
          <a:p>
            <a:pPr marL="0" indent="0">
              <a:buNone/>
            </a:pPr>
            <a:r>
              <a:rPr lang="en-GB" sz="1800" dirty="0"/>
              <a:t>Incremental Integration: Gradually integrate </a:t>
            </a:r>
            <a:r>
              <a:rPr lang="en-GB" sz="1800" dirty="0" err="1"/>
              <a:t>FitNesse</a:t>
            </a:r>
            <a:r>
              <a:rPr lang="en-GB" sz="1800" dirty="0"/>
              <a:t> into the workflow, starting with smaller projects.</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3074" name="Picture 2" descr="FitNesse Pricing, Reviews, &amp; Features in 2022">
            <a:extLst>
              <a:ext uri="{FF2B5EF4-FFF2-40B4-BE49-F238E27FC236}">
                <a16:creationId xmlns:a16="http://schemas.microsoft.com/office/drawing/2014/main" id="{61B76ED8-03AB-3377-00F7-E98A473CB71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4921" y="2831805"/>
            <a:ext cx="4921598" cy="21346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Challenges:</a:t>
            </a:r>
          </a:p>
          <a:p>
            <a:pPr marL="0" indent="0">
              <a:buNone/>
            </a:pPr>
            <a:r>
              <a:rPr lang="en-US" sz="1800" dirty="0"/>
              <a:t>Data Migration: Difficulty in migrating data from legacy systems to PostgreSQL.</a:t>
            </a:r>
          </a:p>
          <a:p>
            <a:pPr marL="0" indent="0">
              <a:buNone/>
            </a:pPr>
            <a:r>
              <a:rPr lang="en-US" sz="1800" dirty="0"/>
              <a:t>Performance Tuning: Ensuring optimal performance for large datasets.</a:t>
            </a:r>
          </a:p>
          <a:p>
            <a:pPr marL="0" indent="0">
              <a:buNone/>
            </a:pPr>
            <a:r>
              <a:rPr lang="en-US" sz="1800" dirty="0"/>
              <a:t>Security Management: Implementing robust security measures to protect sensitive data.</a:t>
            </a:r>
          </a:p>
          <a:p>
            <a:pPr marL="0" indent="0">
              <a:buNone/>
            </a:pPr>
            <a:r>
              <a:rPr lang="en-US" sz="1800" dirty="0"/>
              <a:t>Plan to Overcome:</a:t>
            </a:r>
          </a:p>
          <a:p>
            <a:pPr marL="0" indent="0">
              <a:buNone/>
            </a:pPr>
            <a:r>
              <a:rPr lang="en-US" sz="1800" dirty="0"/>
              <a:t>Data Migration Tools: Use specialized tools and scripts to facilitate smooth data migration.</a:t>
            </a:r>
          </a:p>
          <a:p>
            <a:pPr marL="0" indent="0">
              <a:buNone/>
            </a:pPr>
            <a:r>
              <a:rPr lang="en-US" sz="1800" dirty="0"/>
              <a:t>Performance Optimization: Regularly monitor and tune database performance using PostgreSQL’s built-in too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4098" name="Picture 2" descr="Lessons Learned From 5 Years of Scaling PostgreSQL">
            <a:extLst>
              <a:ext uri="{FF2B5EF4-FFF2-40B4-BE49-F238E27FC236}">
                <a16:creationId xmlns:a16="http://schemas.microsoft.com/office/drawing/2014/main" id="{7039EB28-489F-B39B-987D-C96B21AA7C7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30157" y="2479040"/>
            <a:ext cx="4491990" cy="2994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57776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Embrace Growth, Achieve Excellenc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7" name="Picture 6" descr="A person running from a plant in a pot&#10;&#10;Description automatically generated">
            <a:extLst>
              <a:ext uri="{FF2B5EF4-FFF2-40B4-BE49-F238E27FC236}">
                <a16:creationId xmlns:a16="http://schemas.microsoft.com/office/drawing/2014/main" id="{2E7FBDEF-5103-FC8E-61AB-F953E7DF103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259320" y="2006600"/>
            <a:ext cx="3632200" cy="36322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255327"/>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Challenges:</a:t>
            </a:r>
          </a:p>
          <a:p>
            <a:pPr marL="0" indent="0">
              <a:buNone/>
            </a:pPr>
            <a:r>
              <a:rPr lang="en-US" sz="1800" dirty="0"/>
              <a:t>Time constraint: It was main challenge that I faced as we were given 2 tasks in total</a:t>
            </a:r>
          </a:p>
          <a:p>
            <a:pPr marL="0" indent="0">
              <a:buNone/>
            </a:pPr>
            <a:r>
              <a:rPr lang="en-US" sz="1800" dirty="0"/>
              <a:t>Finding the bugs: The demo site was huge, and it was difficult to find the bugs </a:t>
            </a:r>
          </a:p>
          <a:p>
            <a:pPr marL="0" indent="0">
              <a:buNone/>
            </a:pPr>
            <a:r>
              <a:rPr lang="en-US" sz="1800" dirty="0"/>
              <a:t>Preparing the documentation for test cases and bug reports: It was also one of the main challenges</a:t>
            </a:r>
          </a:p>
          <a:p>
            <a:pPr marL="0" indent="0">
              <a:buNone/>
            </a:pPr>
            <a:r>
              <a:rPr lang="en-US" sz="1800" dirty="0"/>
              <a:t>Plan to Overcome:</a:t>
            </a:r>
          </a:p>
          <a:p>
            <a:pPr marL="0" indent="0">
              <a:buNone/>
            </a:pPr>
            <a:r>
              <a:rPr lang="en-US" sz="1800" dirty="0"/>
              <a:t>Practice: Continuous practice is the only thing which will help in finding the bugs and doing the documentation</a:t>
            </a:r>
          </a:p>
          <a:p>
            <a:pPr marL="0" indent="0">
              <a:buNone/>
            </a:pPr>
            <a:r>
              <a:rPr lang="en-US" sz="1800" dirty="0"/>
              <a:t>Teamwork: Working in teams is far better than working alone as it help in getting different opinions of different teammat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B1831AB6-5EF9-6654-E7D1-8BE3978A502A}"/>
              </a:ext>
            </a:extLst>
          </p:cNvPr>
          <p:cNvPicPr>
            <a:picLocks noChangeAspect="1"/>
          </p:cNvPicPr>
          <p:nvPr/>
        </p:nvPicPr>
        <p:blipFill>
          <a:blip r:embed="rId7"/>
          <a:stretch>
            <a:fillRect/>
          </a:stretch>
        </p:blipFill>
        <p:spPr>
          <a:xfrm>
            <a:off x="6582410" y="2387600"/>
            <a:ext cx="4977310" cy="2799668"/>
          </a:xfrm>
          <a:prstGeom prst="rect">
            <a:avLst/>
          </a:prstGeom>
        </p:spPr>
      </p:pic>
    </p:spTree>
    <p:extLst>
      <p:ext uri="{BB962C8B-B14F-4D97-AF65-F5344CB8AC3E}">
        <p14:creationId xmlns:p14="http://schemas.microsoft.com/office/powerpoint/2010/main" val="5863674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and learning all my learnings including:</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Functional Testing</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PostgreSQL</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Revising the Case study, where I lacked</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Different phases of STLC</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am thinking of following the below timeline:</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Brush up on all my key learnings including all the technical concepts</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Sunday – Do hands on all the software that we learnt</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think that the status will be complete by the end of the week for all my learning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Mohammad </a:t>
            </a:r>
            <a:r>
              <a:rPr lang="en-US" sz="2000" dirty="0" err="1"/>
              <a:t>Sohel</a:t>
            </a:r>
            <a:r>
              <a:rPr lang="en-US" sz="2000" dirty="0"/>
              <a:t> Abbasi sir is a perfect example of how interactive learning is done. He is very good in teaching concepts; he gives us real life examples for each concept and motivates us for doing well in our life and make our parents proud. Also, he made us realize that documentation is also the important part rather than only doing coding. He never hesitates in taking doubts and always encourage us to do better in lif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descr="A group of people posing for a photo&#10;&#10;Description automatically generated">
            <a:extLst>
              <a:ext uri="{FF2B5EF4-FFF2-40B4-BE49-F238E27FC236}">
                <a16:creationId xmlns:a16="http://schemas.microsoft.com/office/drawing/2014/main" id="{DDF2D151-29B8-2361-F378-0272FD3BAF2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55037" y="2336101"/>
            <a:ext cx="4442231" cy="3331673"/>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t>Learned very effectively all my key learnings including Functional testing, different types of testing, STLC, PostgreSQL and also the case study was a great learning. I think that I will remember these concepts and apply them in my professional life.</a:t>
            </a:r>
          </a:p>
          <a:p>
            <a:pPr>
              <a:lnSpc>
                <a:spcPct val="100000"/>
              </a:lnSpc>
            </a:pPr>
            <a:r>
              <a:rPr lang="en-US" sz="1800" dirty="0"/>
              <a:t>I think these topics are very important for the role I am going to play in the organization as a Software Engineer. These concepts will help me in developing my knowledge in the field of software engineering and implement these in my professional career. </a:t>
            </a:r>
          </a:p>
          <a:p>
            <a:pPr>
              <a:lnSpc>
                <a:spcPct val="100000"/>
              </a:lnSpc>
            </a:pPr>
            <a:r>
              <a:rPr lang="en-US" sz="1800" dirty="0"/>
              <a:t>Overall, the last day’s case study was a very good way in which we were able to test our knowledge on these topics and how we can apply them in the projects that we will be working on in the future </a:t>
            </a:r>
            <a:r>
              <a:rPr lang="en-US" sz="1800"/>
              <a:t>of Shell.</a:t>
            </a: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Functional Testing</a:t>
            </a:r>
          </a:p>
          <a:p>
            <a:r>
              <a:rPr lang="en-GB" sz="2000" dirty="0"/>
              <a:t>Functional testing is a type of software testing that validates the software system against the functional requirements or specifications. It ensures that each function of the software application operates in conformance with the requirement.</a:t>
            </a:r>
          </a:p>
          <a:p>
            <a:r>
              <a:rPr lang="en-GB" sz="2000" dirty="0"/>
              <a:t>Functional testing ensures that energy systems operate correctly under various conditions. This involves rigorous testing of new technologies before deployment to ensure reliability, safety, and efficiency.</a:t>
            </a:r>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8" name="Picture 4" descr="Functional Testing – Everything You Need To Know">
            <a:extLst>
              <a:ext uri="{FF2B5EF4-FFF2-40B4-BE49-F238E27FC236}">
                <a16:creationId xmlns:a16="http://schemas.microsoft.com/office/drawing/2014/main" id="{569C0BAA-4466-6126-1FD9-163982CD01D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63239" y="2186200"/>
            <a:ext cx="3425825" cy="3425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Software Testing Life Cycle (STLC)</a:t>
            </a:r>
          </a:p>
          <a:p>
            <a:r>
              <a:rPr lang="en-GB" sz="2000" dirty="0"/>
              <a:t>The Software Testing Life Cycle (STLC) is a systematic process that involves several phases to ensure software quality. These phases include Requirement Analysis, Test Planning, Test Case Development, Test Environment Setup, Test Execution, Test Cycle Closure</a:t>
            </a:r>
          </a:p>
          <a:p>
            <a:r>
              <a:rPr lang="en-GB" sz="2000" dirty="0"/>
              <a:t>Implementing STLC in the Energy sector ensures thorough testing of energy management systems, enhancing reliability and efficiency. </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0" name="Picture 2" descr="STLC 101 - Everything you need to know about Software Testing Lifecycle ...">
            <a:extLst>
              <a:ext uri="{FF2B5EF4-FFF2-40B4-BE49-F238E27FC236}">
                <a16:creationId xmlns:a16="http://schemas.microsoft.com/office/drawing/2014/main" id="{22AA9171-29E5-3E3A-5B5F-0AA8B92B61F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69829" y="2489306"/>
            <a:ext cx="5012645" cy="28196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err="1"/>
              <a:t>FitNesse</a:t>
            </a:r>
            <a:r>
              <a:rPr lang="en-US" sz="2000" dirty="0"/>
              <a:t> Software</a:t>
            </a:r>
          </a:p>
          <a:p>
            <a:r>
              <a:rPr lang="en-GB" sz="2000" dirty="0" err="1"/>
              <a:t>FitNesse</a:t>
            </a:r>
            <a:r>
              <a:rPr lang="en-GB" sz="2000" dirty="0"/>
              <a:t> is a web server, wiki, and automated testing tool designed to support acceptance testing by providing detailed, readable descriptions of system functions. It facilitates collaboration between developers and testers to ensure software meets user expectations</a:t>
            </a:r>
          </a:p>
          <a:p>
            <a:r>
              <a:rPr lang="en-GB" sz="2000" dirty="0"/>
              <a:t>It can be used to automate acceptance testing of energy management systems, ensuring they meet user requirements. This enhances collaboration between developers and testers, leading to more reliable energy solution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6" name="Picture 4" descr="FrontPage">
            <a:extLst>
              <a:ext uri="{FF2B5EF4-FFF2-40B4-BE49-F238E27FC236}">
                <a16:creationId xmlns:a16="http://schemas.microsoft.com/office/drawing/2014/main" id="{22FF34B0-B23A-642E-5828-7A300C1D3FA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55795" y="3187870"/>
            <a:ext cx="3840714" cy="7112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PostgreSQL</a:t>
            </a:r>
          </a:p>
          <a:p>
            <a:r>
              <a:rPr lang="en-GB" sz="2000" dirty="0"/>
              <a:t>PostgreSQL is a powerful, open-source object-relational database system known for its reliability, feature robustness, and performance. It supports both SQL and JSON querying, making it highly versatile for various applications</a:t>
            </a:r>
            <a:endParaRPr lang="en-US" sz="2000" dirty="0"/>
          </a:p>
          <a:p>
            <a:r>
              <a:rPr lang="en-GB" sz="2000" dirty="0"/>
              <a:t>PostgreSQL can be used in the Energy sector to manage and </a:t>
            </a:r>
            <a:r>
              <a:rPr lang="en-GB" sz="2000" dirty="0" err="1"/>
              <a:t>analyze</a:t>
            </a:r>
            <a:r>
              <a:rPr lang="en-GB" sz="2000" dirty="0"/>
              <a:t> large datasets from energy consumption and production. This helps optimize energy distribution and improve decision-making process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4098" name="Picture 2" descr="PostgreSQL Features | Various Advanced Features of PostgreSQL">
            <a:extLst>
              <a:ext uri="{FF2B5EF4-FFF2-40B4-BE49-F238E27FC236}">
                <a16:creationId xmlns:a16="http://schemas.microsoft.com/office/drawing/2014/main" id="{25AC5804-8A24-7E08-CF1A-161C27F968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21134" y="2368550"/>
            <a:ext cx="5114884" cy="2863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18082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Final Case Study of </a:t>
            </a:r>
            <a:r>
              <a:rPr lang="en-US" sz="2000" dirty="0" err="1"/>
              <a:t>OrangeHRM</a:t>
            </a:r>
            <a:endParaRPr lang="en-US" sz="2000" dirty="0"/>
          </a:p>
          <a:p>
            <a:r>
              <a:rPr lang="en-US" sz="2000" dirty="0"/>
              <a:t>We had to do 2 tasks in total, one was to create a GitHub CI/CD pipeline to automate the integration and deployment of the code. Other was to test the </a:t>
            </a:r>
            <a:r>
              <a:rPr lang="en-US" sz="2000" dirty="0" err="1"/>
              <a:t>OrangeHRM</a:t>
            </a:r>
            <a:r>
              <a:rPr lang="en-US" sz="2000" dirty="0"/>
              <a:t> website and write the test cases along with the bug report.</a:t>
            </a:r>
          </a:p>
          <a:p>
            <a:r>
              <a:rPr lang="en-US" sz="2000" dirty="0"/>
              <a:t>This was a very interesting case study as it allowed us to identify where we can apply the concepts in the energy industry. It was a great learning experience.</a:t>
            </a:r>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C52E8ADF-147B-2DAE-FAB0-59A9D5866754}"/>
              </a:ext>
            </a:extLst>
          </p:cNvPr>
          <p:cNvPicPr>
            <a:picLocks noChangeAspect="1"/>
          </p:cNvPicPr>
          <p:nvPr/>
        </p:nvPicPr>
        <p:blipFill>
          <a:blip r:embed="rId7"/>
          <a:stretch>
            <a:fillRect/>
          </a:stretch>
        </p:blipFill>
        <p:spPr>
          <a:xfrm>
            <a:off x="6572792" y="2696613"/>
            <a:ext cx="5006720" cy="2404999"/>
          </a:xfrm>
          <a:prstGeom prst="rect">
            <a:avLst/>
          </a:prstGeom>
        </p:spPr>
      </p:pic>
    </p:spTree>
    <p:extLst>
      <p:ext uri="{BB962C8B-B14F-4D97-AF65-F5344CB8AC3E}">
        <p14:creationId xmlns:p14="http://schemas.microsoft.com/office/powerpoint/2010/main" val="28058873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941</TotalTime>
  <Words>1494</Words>
  <Application>Microsoft Office PowerPoint</Application>
  <PresentationFormat>Widescreen</PresentationFormat>
  <Paragraphs>128</Paragraphs>
  <Slides>26</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0"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Learning 5 | My takeaways</vt:lpstr>
      <vt:lpstr>PowerPoint Presentation</vt:lpstr>
      <vt:lpstr>Learning 1 | Relevance for Shell</vt:lpstr>
      <vt:lpstr>Learning 2 | Relevance for Shell</vt:lpstr>
      <vt:lpstr>Learning 3 | Relevance for Shell</vt:lpstr>
      <vt:lpstr>Learning 4 | Relevance for Shell</vt:lpstr>
      <vt:lpstr>Learning 5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Challenge faced while implementing Learning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grawal, Shobhit SBOBNG-PTIY/BCS</cp:lastModifiedBy>
  <cp:revision>503</cp:revision>
  <dcterms:created xsi:type="dcterms:W3CDTF">2022-01-18T12:35:56Z</dcterms:created>
  <dcterms:modified xsi:type="dcterms:W3CDTF">2024-09-06T11:1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